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  <p:sldMasterId id="2147483717" r:id="rId2"/>
    <p:sldMasterId id="2147483743" r:id="rId3"/>
  </p:sldMasterIdLst>
  <p:notesMasterIdLst>
    <p:notesMasterId r:id="rId6"/>
  </p:notesMasterIdLst>
  <p:handoutMasterIdLst>
    <p:handoutMasterId r:id="rId7"/>
  </p:handoutMasterIdLst>
  <p:sldIdLst>
    <p:sldId id="256" r:id="rId4"/>
    <p:sldId id="259" r:id="rId5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12AF1E-8FFC-4815-BBAA-E629860D59D8}" v="24" dt="2023-08-17T19:09:02.7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6286" autoAdjust="0"/>
  </p:normalViewPr>
  <p:slideViewPr>
    <p:cSldViewPr snapToGrid="0" snapToObjects="1">
      <p:cViewPr varScale="1">
        <p:scale>
          <a:sx n="112" d="100"/>
          <a:sy n="112" d="100"/>
        </p:scale>
        <p:origin x="438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30999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/>
              <a:t>The </a:t>
            </a:r>
            <a:br>
              <a:rPr lang="en-US" sz="5400" dirty="0"/>
            </a:br>
            <a:r>
              <a:rPr lang="en-US" sz="5400" dirty="0"/>
              <a:t>Business Case</a:t>
            </a:r>
            <a:endParaRPr lang="en-US" sz="5400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7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5A8099D1-9868-E4C1-F2DA-87CD6A6841E5}"/>
              </a:ext>
            </a:extLst>
          </p:cNvPr>
          <p:cNvSpPr txBox="1">
            <a:spLocks/>
          </p:cNvSpPr>
          <p:nvPr/>
        </p:nvSpPr>
        <p:spPr>
          <a:xfrm>
            <a:off x="304800" y="241091"/>
            <a:ext cx="11582400" cy="49678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Arial Nova Cond" panose="020B0506020202020204" pitchFamily="34" charset="0"/>
              </a:rPr>
              <a:t>Data-Driven Decision Making:  Benefits, Risk and Reward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3765A2C-1A85-CB2F-4C17-A97721EABEF6}"/>
              </a:ext>
            </a:extLst>
          </p:cNvPr>
          <p:cNvGrpSpPr/>
          <p:nvPr/>
        </p:nvGrpSpPr>
        <p:grpSpPr>
          <a:xfrm>
            <a:off x="181004" y="804292"/>
            <a:ext cx="5676900" cy="450256"/>
            <a:chOff x="70383" y="988052"/>
            <a:chExt cx="5490013" cy="45025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7153281-DAB0-FDCE-A698-3545B2598957}"/>
                </a:ext>
              </a:extLst>
            </p:cNvPr>
            <p:cNvSpPr/>
            <p:nvPr/>
          </p:nvSpPr>
          <p:spPr>
            <a:xfrm>
              <a:off x="70383" y="1020799"/>
              <a:ext cx="5490013" cy="40753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bg1"/>
                  </a:solidFill>
                </a:rPr>
                <a:t>      Business Outcome Expected</a:t>
              </a:r>
            </a:p>
          </p:txBody>
        </p:sp>
        <p:pic>
          <p:nvPicPr>
            <p:cNvPr id="23" name="Graphic 22" descr="Upward trend">
              <a:extLst>
                <a:ext uri="{FF2B5EF4-FFF2-40B4-BE49-F238E27FC236}">
                  <a16:creationId xmlns:a16="http://schemas.microsoft.com/office/drawing/2014/main" id="{37C021D9-4F80-5E2E-10B5-062D38FFB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073" y="988052"/>
              <a:ext cx="450256" cy="45025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348BB45-61EA-14C2-74F6-E460CB7A2085}"/>
              </a:ext>
            </a:extLst>
          </p:cNvPr>
          <p:cNvGrpSpPr/>
          <p:nvPr/>
        </p:nvGrpSpPr>
        <p:grpSpPr>
          <a:xfrm>
            <a:off x="181004" y="4932131"/>
            <a:ext cx="11833196" cy="407536"/>
            <a:chOff x="341190" y="5273711"/>
            <a:chExt cx="5677790" cy="40753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19F9296-451F-FF53-7840-5BF52A5D8CD9}"/>
                </a:ext>
              </a:extLst>
            </p:cNvPr>
            <p:cNvSpPr/>
            <p:nvPr/>
          </p:nvSpPr>
          <p:spPr>
            <a:xfrm>
              <a:off x="341190" y="5273712"/>
              <a:ext cx="5677790" cy="40753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bg1"/>
                  </a:solidFill>
                </a:rPr>
                <a:t>      Risk and Reward</a:t>
              </a:r>
            </a:p>
          </p:txBody>
        </p:sp>
        <p:pic>
          <p:nvPicPr>
            <p:cNvPr id="26" name="Graphic 25" descr="Drama">
              <a:extLst>
                <a:ext uri="{FF2B5EF4-FFF2-40B4-BE49-F238E27FC236}">
                  <a16:creationId xmlns:a16="http://schemas.microsoft.com/office/drawing/2014/main" id="{DD2E148E-0939-58B9-4B03-BA8AB7D59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52867" y="5273711"/>
              <a:ext cx="216864" cy="40753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D3F7C62-9B9E-3865-B76F-FBB15BDE942F}"/>
              </a:ext>
            </a:extLst>
          </p:cNvPr>
          <p:cNvGrpSpPr/>
          <p:nvPr/>
        </p:nvGrpSpPr>
        <p:grpSpPr>
          <a:xfrm>
            <a:off x="6096000" y="827379"/>
            <a:ext cx="5913248" cy="407536"/>
            <a:chOff x="6380780" y="1297660"/>
            <a:chExt cx="5677790" cy="407536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567CCF9-00DC-4244-6F08-CB65995C3E06}"/>
                </a:ext>
              </a:extLst>
            </p:cNvPr>
            <p:cNvSpPr/>
            <p:nvPr/>
          </p:nvSpPr>
          <p:spPr>
            <a:xfrm>
              <a:off x="6380780" y="1297661"/>
              <a:ext cx="5677790" cy="40753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>
                  <a:solidFill>
                    <a:schemeClr val="bg1"/>
                  </a:solidFill>
                </a:rPr>
                <a:t>      Projected Financial Impact</a:t>
              </a:r>
            </a:p>
          </p:txBody>
        </p:sp>
        <p:pic>
          <p:nvPicPr>
            <p:cNvPr id="29" name="Graphic 28" descr="Research">
              <a:extLst>
                <a:ext uri="{FF2B5EF4-FFF2-40B4-BE49-F238E27FC236}">
                  <a16:creationId xmlns:a16="http://schemas.microsoft.com/office/drawing/2014/main" id="{1BF35F5A-3237-FC7B-604A-2C922B5622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36597" y="1297660"/>
              <a:ext cx="407535" cy="407535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8F8F2AF3-DE87-83AD-06D2-3A625B0AA9FB}"/>
              </a:ext>
            </a:extLst>
          </p:cNvPr>
          <p:cNvSpPr txBox="1"/>
          <p:nvPr/>
        </p:nvSpPr>
        <p:spPr>
          <a:xfrm>
            <a:off x="232829" y="5382963"/>
            <a:ext cx="5728356" cy="984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Risks: 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  <a:latin typeface="+mj-lt"/>
              </a:rPr>
              <a:t>Customer adoption and solution effectiveness 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  <a:latin typeface="+mj-lt"/>
              </a:rPr>
              <a:t>Internal alignment and support from key stakeholders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  <a:latin typeface="+mj-lt"/>
              </a:rPr>
              <a:t>Scope creep and integration requirements with 3</a:t>
            </a:r>
            <a:r>
              <a:rPr lang="en-US" sz="1100" baseline="30000" dirty="0">
                <a:solidFill>
                  <a:schemeClr val="tx2"/>
                </a:solidFill>
                <a:latin typeface="+mj-lt"/>
              </a:rPr>
              <a:t>rd</a:t>
            </a:r>
            <a:r>
              <a:rPr lang="en-US" sz="1100" dirty="0">
                <a:solidFill>
                  <a:schemeClr val="tx2"/>
                </a:solidFill>
                <a:latin typeface="+mj-lt"/>
              </a:rPr>
              <a:t> parties</a:t>
            </a:r>
          </a:p>
          <a:p>
            <a:pPr marL="282575" indent="-282575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  <a:latin typeface="+mj-lt"/>
              </a:rPr>
              <a:t>Cross-functional collaboration &amp; support to deliv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73E43D3-B4D5-9388-F63E-4CDAB80E7449}"/>
              </a:ext>
            </a:extLst>
          </p:cNvPr>
          <p:cNvSpPr txBox="1"/>
          <p:nvPr/>
        </p:nvSpPr>
        <p:spPr>
          <a:xfrm>
            <a:off x="8976811" y="1508927"/>
            <a:ext cx="3215189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2"/>
                </a:solidFill>
              </a:rPr>
              <a:t>Note:</a:t>
            </a: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0: Pilot Proof of Concept Development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1: Revenue generation from pilot and full implementation with 3</a:t>
            </a:r>
            <a:r>
              <a:rPr lang="en-US" sz="1100" baseline="30000" dirty="0">
                <a:solidFill>
                  <a:schemeClr val="tx2"/>
                </a:solidFill>
              </a:rPr>
              <a:t>rd</a:t>
            </a:r>
            <a:r>
              <a:rPr lang="en-US" sz="1100" dirty="0">
                <a:solidFill>
                  <a:schemeClr val="tx2"/>
                </a:solidFill>
              </a:rPr>
              <a:t> party provider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2 : Content Ramp and Deploy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3 : Stabilization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4 : System being </a:t>
            </a:r>
            <a:r>
              <a:rPr lang="en-US" sz="1100" dirty="0" err="1">
                <a:solidFill>
                  <a:schemeClr val="tx2"/>
                </a:solidFill>
              </a:rPr>
              <a:t>intnerally</a:t>
            </a:r>
            <a:r>
              <a:rPr lang="en-US" sz="1100" dirty="0">
                <a:solidFill>
                  <a:schemeClr val="tx2"/>
                </a:solidFill>
              </a:rPr>
              <a:t> managed 95% technical completion, move into operational mode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r>
              <a:rPr lang="en-US" sz="1100" dirty="0" err="1">
                <a:solidFill>
                  <a:schemeClr val="tx2"/>
                </a:solidFill>
              </a:rPr>
              <a:t>Yr</a:t>
            </a:r>
            <a:r>
              <a:rPr lang="en-US" sz="1100" dirty="0">
                <a:solidFill>
                  <a:schemeClr val="tx2"/>
                </a:solidFill>
              </a:rPr>
              <a:t> 5 : Operational state</a:t>
            </a:r>
          </a:p>
          <a:p>
            <a:endParaRPr lang="en-US" sz="1100" dirty="0">
              <a:solidFill>
                <a:schemeClr val="tx2"/>
              </a:solidFill>
            </a:endParaRPr>
          </a:p>
          <a:p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5F2C75B-B1CB-E38E-1896-413BEF71AB52}"/>
              </a:ext>
            </a:extLst>
          </p:cNvPr>
          <p:cNvSpPr txBox="1"/>
          <p:nvPr/>
        </p:nvSpPr>
        <p:spPr>
          <a:xfrm>
            <a:off x="6096001" y="5377064"/>
            <a:ext cx="5913248" cy="9848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+mj-lt"/>
              </a:rPr>
              <a:t>Reward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2x to 10x expansion growth driving through increased funnel win rate &amp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Upsell and Cross-sell to existing accounts across customer personas &amp; buying journe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Designed to integrate with other core 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2"/>
                </a:solidFill>
              </a:rPr>
              <a:t>Easily updated to support data platform innovation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BC2FF45D-0486-9F4F-2A1D-15F4AE141B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0" y="1297844"/>
            <a:ext cx="2803729" cy="315766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37BBF0B-7375-4A5D-5924-9B4D9B9CF6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1004" y="1317477"/>
            <a:ext cx="5780181" cy="3231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422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3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8074</TotalTime>
  <Words>153</Words>
  <Application>Microsoft Office PowerPoint</Application>
  <PresentationFormat>Widescreen</PresentationFormat>
  <Paragraphs>2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6" baseType="lpstr">
      <vt:lpstr>Arial</vt:lpstr>
      <vt:lpstr>Arial Nova Cond</vt:lpstr>
      <vt:lpstr>Calibri</vt:lpstr>
      <vt:lpstr>Calibri Light</vt:lpstr>
      <vt:lpstr>Lucida Grande</vt:lpstr>
      <vt:lpstr>Roboto</vt:lpstr>
      <vt:lpstr>Roboto Light</vt:lpstr>
      <vt:lpstr>System Font Regular</vt:lpstr>
      <vt:lpstr>Verdana</vt:lpstr>
      <vt:lpstr>Wingdings</vt:lpstr>
      <vt:lpstr>Custom Design</vt:lpstr>
      <vt:lpstr>1_AGILENT 16-9</vt:lpstr>
      <vt:lpstr>1_Office Theme</vt:lpstr>
      <vt:lpstr>think-cell Slide</vt:lpstr>
      <vt:lpstr>The  Business Cas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6</cp:revision>
  <cp:lastPrinted>2022-01-25T19:11:12Z</cp:lastPrinted>
  <dcterms:created xsi:type="dcterms:W3CDTF">2013-04-15T13:08:21Z</dcterms:created>
  <dcterms:modified xsi:type="dcterms:W3CDTF">2023-08-17T20:27:05Z</dcterms:modified>
  <cp:category/>
</cp:coreProperties>
</file>